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218.xml" ContentType="application/vnd.openxmlformats-officedocument.presentationml.slide+xml"/>
  <Override PartName="/ppt/tags/tag1566.xml" ContentType="application/vnd.openxmlformats-officedocument.presentationml.tags+xml"/>
  <Override PartName="/ppt/tags/tag1571.xml" ContentType="application/vnd.openxmlformats-officedocument.presentationml.tags+xml"/>
  <Override PartName="/ppt/tags/tag1576.xml" ContentType="application/vnd.openxmlformats-officedocument.presentationml.tags+xml"/>
  <Override PartName="/ppt/tags/tag1561.xml" ContentType="application/vnd.openxmlformats-officedocument.presentationml.tags+xml"/>
  <Override PartName="/ppt/tags/tag1579.xml" ContentType="application/vnd.openxmlformats-officedocument.presentationml.tags+xml"/>
  <Override PartName="/ppt/tags/tag1565.xml" ContentType="application/vnd.openxmlformats-officedocument.presentationml.tags+xml"/>
  <Override PartName="/ppt/tags/tag1570.xml" ContentType="application/vnd.openxmlformats-officedocument.presentationml.tags+xml"/>
  <Override PartName="/ppt/tags/tag1575.xml" ContentType="application/vnd.openxmlformats-officedocument.presentationml.tags+xml"/>
  <Override PartName="/ppt/tags/tag1560.xml" ContentType="application/vnd.openxmlformats-officedocument.presentationml.tags+xml"/>
  <Override PartName="/ppt/tags/tag1574.xml" ContentType="application/vnd.openxmlformats-officedocument.presentationml.tags+xml"/>
  <Override PartName="/ppt/tags/tag1578.xml" ContentType="application/vnd.openxmlformats-officedocument.presentationml.tags+xml"/>
  <Override PartName="/ppt/tags/tag1564.xml" ContentType="application/vnd.openxmlformats-officedocument.presentationml.tags+xml"/>
  <Override PartName="/ppt/tags/tag1569.xml" ContentType="application/vnd.openxmlformats-officedocument.presentationml.tags+xml"/>
  <Override PartName="/ppt/notesSlides/notesSlide21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563.xml" ContentType="application/vnd.openxmlformats-officedocument.presentationml.tags+xml"/>
  <Override PartName="/ppt/tags/tag157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568.xml" ContentType="application/vnd.openxmlformats-officedocument.presentationml.tags+xml"/>
  <Override PartName="/ppt/tags/tag1577.xml" ContentType="application/vnd.openxmlformats-officedocument.presentationml.tags+xml"/>
  <Override PartName="/ppt/tags/tag1562.xml" ContentType="application/vnd.openxmlformats-officedocument.presentationml.tags+xml"/>
  <Override PartName="/ppt/tags/tag1567.xml" ContentType="application/vnd.openxmlformats-officedocument.presentationml.tags+xml"/>
  <Override PartName="/ppt/tags/tag1572.xml" ContentType="application/vnd.openxmlformats-officedocument.presentationml.tags+xml"/>
  <Override PartName="/ppt/tags/tag1580.xml" ContentType="application/vnd.openxmlformats-officedocument.presentationml.tags+xml"/>
  <Override PartName="/ppt/charts/chart53.xml" ContentType="application/vnd.openxmlformats-officedocument.drawingml.chart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43" r:id="rId22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218.xml" Id="rId221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53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52.xlsb" Id="rId1" /></Relationships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404136148211979E-2"/>
          <c:y val="2.2404136148211979E-2"/>
          <c:w val="0.95519172770357608"/>
          <c:h val="0.9551917277035760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157-49C6-8940-898521F3F68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157-49C6-8940-898521F3F68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157-49C6-8940-898521F3F68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157-49C6-8940-898521F3F68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157-49C6-8940-898521F3F687}"/>
              </c:ext>
            </c:extLst>
          </c:dPt>
          <c:dPt>
            <c:idx val="5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157-49C6-8940-898521F3F687}"/>
              </c:ext>
            </c:extLst>
          </c:dPt>
          <c:dPt>
            <c:idx val="6"/>
            <c:bubble3D val="0"/>
            <c:spPr>
              <a:solidFill>
                <a:srgbClr val="FFFF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F157-49C6-8940-898521F3F687}"/>
              </c:ext>
            </c:extLst>
          </c:dPt>
          <c:val>
            <c:numRef>
              <c:f>Sheet1!$A$1:$A$7</c:f>
              <c:numCache>
                <c:formatCode>General</c:formatCode>
                <c:ptCount val="7"/>
                <c:pt idx="0">
                  <c:v>37.018530085363309</c:v>
                </c:pt>
                <c:pt idx="1">
                  <c:v>24.41182594211951</c:v>
                </c:pt>
                <c:pt idx="2">
                  <c:v>19.310847387049758</c:v>
                </c:pt>
                <c:pt idx="3">
                  <c:v>8.3281282531750982</c:v>
                </c:pt>
                <c:pt idx="4">
                  <c:v>4.6845721424109925</c:v>
                </c:pt>
                <c:pt idx="5">
                  <c:v>3.6435561107641052</c:v>
                </c:pt>
                <c:pt idx="6">
                  <c:v>2.6025400791172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157-49C6-8940-898521F3F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2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18.xml.rels>&#65279;<?xml version="1.0" encoding="utf-8"?><Relationships xmlns="http://schemas.openxmlformats.org/package/2006/relationships"><Relationship Type="http://schemas.openxmlformats.org/officeDocument/2006/relationships/slide" Target="/ppt/slides/slide218.xml" Id="rId2" /><Relationship Type="http://schemas.openxmlformats.org/officeDocument/2006/relationships/notesMaster" Target="/ppt/notesMasters/notesMaster1.xml" Id="rId1" /></Relationships>
</file>

<file path=ppt/notesSlides/notesSlide2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28498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18.xml.rels>&#65279;<?xml version="1.0" encoding="utf-8"?><Relationships xmlns="http://schemas.openxmlformats.org/package/2006/relationships"><Relationship Type="http://schemas.openxmlformats.org/officeDocument/2006/relationships/tags" Target="/ppt/tags/tag1566.xml" Id="rId8" /><Relationship Type="http://schemas.openxmlformats.org/officeDocument/2006/relationships/tags" Target="/ppt/tags/tag1571.xml" Id="rId13" /><Relationship Type="http://schemas.openxmlformats.org/officeDocument/2006/relationships/tags" Target="/ppt/tags/tag1576.xml" Id="rId18" /><Relationship Type="http://schemas.openxmlformats.org/officeDocument/2006/relationships/image" Target="/ppt/media/image4.emf" Id="rId26" /><Relationship Type="http://schemas.openxmlformats.org/officeDocument/2006/relationships/tags" Target="/ppt/tags/tag1561.xml" Id="rId3" /><Relationship Type="http://schemas.openxmlformats.org/officeDocument/2006/relationships/tags" Target="/ppt/tags/tag1579.xml" Id="rId21" /><Relationship Type="http://schemas.openxmlformats.org/officeDocument/2006/relationships/tags" Target="/ppt/tags/tag1565.xml" Id="rId7" /><Relationship Type="http://schemas.openxmlformats.org/officeDocument/2006/relationships/tags" Target="/ppt/tags/tag1570.xml" Id="rId12" /><Relationship Type="http://schemas.openxmlformats.org/officeDocument/2006/relationships/tags" Target="/ppt/tags/tag1575.xml" Id="rId17" /><Relationship Type="http://schemas.openxmlformats.org/officeDocument/2006/relationships/oleObject" Target="/ppt/embeddings/oleObject222.bin" Id="rId25" /><Relationship Type="http://schemas.openxmlformats.org/officeDocument/2006/relationships/tags" Target="/ppt/tags/tag1560.xml" Id="rId2" /><Relationship Type="http://schemas.openxmlformats.org/officeDocument/2006/relationships/tags" Target="/ppt/tags/tag1574.xml" Id="rId16" /><Relationship Type="http://schemas.openxmlformats.org/officeDocument/2006/relationships/tags" Target="/ppt/tags/tag1578.xml" Id="rId20" /><Relationship Type="http://schemas.openxmlformats.org/officeDocument/2006/relationships/vmlDrawing" Target="/ppt/drawings/vmlDrawing222.vml" Id="rId1" /><Relationship Type="http://schemas.openxmlformats.org/officeDocument/2006/relationships/tags" Target="/ppt/tags/tag1564.xml" Id="rId6" /><Relationship Type="http://schemas.openxmlformats.org/officeDocument/2006/relationships/tags" Target="/ppt/tags/tag1569.xml" Id="rId11" /><Relationship Type="http://schemas.openxmlformats.org/officeDocument/2006/relationships/notesSlide" Target="/ppt/notesSlides/notesSlide218.xml" Id="rId24" /><Relationship Type="http://schemas.openxmlformats.org/officeDocument/2006/relationships/tags" Target="/ppt/tags/tag1563.xml" Id="rId5" /><Relationship Type="http://schemas.openxmlformats.org/officeDocument/2006/relationships/tags" Target="/ppt/tags/tag1573.xml" Id="rId15" /><Relationship Type="http://schemas.openxmlformats.org/officeDocument/2006/relationships/slideLayout" Target="/ppt/slideLayouts/slideLayout5.xml" Id="rId23" /><Relationship Type="http://schemas.openxmlformats.org/officeDocument/2006/relationships/tags" Target="/ppt/tags/tag1568.xml" Id="rId10" /><Relationship Type="http://schemas.openxmlformats.org/officeDocument/2006/relationships/tags" Target="/ppt/tags/tag1577.xml" Id="rId19" /><Relationship Type="http://schemas.openxmlformats.org/officeDocument/2006/relationships/tags" Target="/ppt/tags/tag1562.xml" Id="rId4" /><Relationship Type="http://schemas.openxmlformats.org/officeDocument/2006/relationships/tags" Target="/ppt/tags/tag1567.xml" Id="rId9" /><Relationship Type="http://schemas.openxmlformats.org/officeDocument/2006/relationships/tags" Target="/ppt/tags/tag1572.xml" Id="rId14" /><Relationship Type="http://schemas.openxmlformats.org/officeDocument/2006/relationships/tags" Target="/ppt/tags/tag1580.xml" Id="rId22" /><Relationship Type="http://schemas.openxmlformats.org/officeDocument/2006/relationships/chart" Target="/ppt/charts/chart53.xml" Id="rId27" /></Relationships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878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7" name="think-cell 幻灯片" r:id="rId25" imgW="349" imgH="350" progId="TCLayout.ActiveDocument.1">
                  <p:embed/>
                </p:oleObj>
              </mc:Choice>
              <mc:Fallback>
                <p:oleObj name="think-cell 幻灯片" r:id="rId2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Structure, composition: Pie</a:t>
            </a:r>
          </a:p>
        </p:txBody>
      </p:sp>
      <p:graphicFrame>
        <p:nvGraphicFramePr>
          <p:cNvPr id="35" name="Chart 3">
            <a:extLst>
              <a:ext uri="{FF2B5EF4-FFF2-40B4-BE49-F238E27FC236}">
                <a16:creationId xmlns:a16="http://schemas.microsoft.com/office/drawing/2014/main" id="{1794323E-4B62-444D-8048-804185C4A39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31590439"/>
              </p:ext>
            </p:extLst>
          </p:nvPr>
        </p:nvGraphicFramePr>
        <p:xfrm>
          <a:off x="2436813" y="1824038"/>
          <a:ext cx="3684587" cy="368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1" name="Rectangle 42">
            <a:extLst>
              <a:ext uri="{FF2B5EF4-FFF2-40B4-BE49-F238E27FC236}">
                <a16:creationId xmlns:a16="http://schemas.microsoft.com/office/drawing/2014/main" id="{9E6410C4-3A5C-5202-DDF5-56F69356793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281612" y="2911475"/>
            <a:ext cx="598488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0F1AF29-5FD5-417A-B826-FA4D5AB764C7}" type="datetime'''''3''''''''''''5''''''''''''''.6''''''m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.6m</a:t>
            </a:fld>
            <a:br>
              <a:rPr lang="en-US" altLang="en-US" sz="1400">
                <a:solidFill>
                  <a:schemeClr val="bg1"/>
                </a:solidFill>
              </a:rPr>
            </a:br>
            <a:r>
              <a:rPr lang="en-US" altLang="en-US" sz="1400">
                <a:solidFill>
                  <a:schemeClr val="bg1"/>
                </a:solidFill>
              </a:rPr>
              <a:t>(</a:t>
            </a:r>
            <a:fld id="{DDFBE2D8-664C-4991-98AF-9BFA0C4F4CEA}" type="datetime'''''''''''''''3''''7''''%''''''''''''''''''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7%</a:t>
            </a:fld>
            <a:r>
              <a:rPr lang="en-US" altLang="en-US" sz="1400">
                <a:solidFill>
                  <a:schemeClr val="bg1"/>
                </a:solidFill>
              </a:rPr>
              <a:t>)</a:t>
            </a:r>
            <a:endParaRPr lang="en-US" sz="14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9" name="Rectangle 72">
            <a:extLst>
              <a:ext uri="{FF2B5EF4-FFF2-40B4-BE49-F238E27FC236}">
                <a16:creationId xmlns:a16="http://schemas.microsoft.com/office/drawing/2014/main" id="{80CEA80E-0234-8C67-3415-F0D6EE11302B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054474" y="4994275"/>
            <a:ext cx="598488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018696-6989-4FA8-870B-D74B3B4FECF4}" type="datetime'2''''3.''''''''''''''''''5''''''''''''''''''''m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3.5m</a:t>
            </a:fld>
            <a:br>
              <a:rPr lang="en-US" altLang="en-US" sz="1400">
                <a:solidFill>
                  <a:schemeClr val="bg1"/>
                </a:solidFill>
              </a:rPr>
            </a:br>
            <a:r>
              <a:rPr lang="en-US" altLang="en-US" sz="1400">
                <a:solidFill>
                  <a:schemeClr val="bg1"/>
                </a:solidFill>
              </a:rPr>
              <a:t>(</a:t>
            </a:r>
            <a:fld id="{682D26D6-BC9C-4C37-8169-E2405119FD2B}" type="datetime'''''''''''2''''''''4''''''''%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4%</a:t>
            </a:fld>
            <a:r>
              <a:rPr lang="en-US" altLang="en-US" sz="1400">
                <a:solidFill>
                  <a:schemeClr val="bg1"/>
                </a:solidFill>
              </a:rPr>
              <a:t>)</a:t>
            </a:r>
            <a:endParaRPr lang="en-US" sz="14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AEB62DBA-6519-CFF3-5B67-2BDB0854DB7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592387" y="3825875"/>
            <a:ext cx="565150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E8E61C4-16FB-4A6B-8A65-54E415170EB8}" type="datetime'''''''''''''''''''18''''''''''''.''''''''''''''''''''''6m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.6m</a:t>
            </a:fld>
            <a:br>
              <a:rPr lang="en-US" altLang="en-US" sz="1400">
                <a:solidFill>
                  <a:schemeClr val="bg2">
                    <a:lumMod val="10000"/>
                  </a:schemeClr>
                </a:solidFill>
              </a:rPr>
            </a:b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(</a:t>
            </a:r>
            <a:fld id="{35FEC127-3E5F-4B24-A4D7-2DDE58A84F1F}" type="datetime'''1''''''''''''''''''''''''9''''''''''''''''''''%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9%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)</a:t>
            </a:r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683939CA-73E5-B2FB-382F-BB99E23759D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847975" y="2625725"/>
            <a:ext cx="495300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4D73DC5-035D-4200-A2AD-3D095655E4B2}" type="datetime'''''''''''''8''''''''''.''''0''''''''m''''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.0m</a:t>
            </a:fld>
            <a:br>
              <a:rPr lang="en-US" altLang="en-US" sz="1400">
                <a:solidFill>
                  <a:schemeClr val="bg1"/>
                </a:solidFill>
                <a:effectLst/>
                <a:sym typeface="Arial" panose="020B0604020202020204" pitchFamily="34" charset="0"/>
              </a:rPr>
            </a:br>
            <a:r>
              <a:rPr lang="en-US" altLang="en-US" sz="1400">
                <a:solidFill>
                  <a:schemeClr val="bg1"/>
                </a:solidFill>
                <a:effectLst/>
                <a:sym typeface="Arial" panose="020B0604020202020204" pitchFamily="34" charset="0"/>
              </a:rPr>
              <a:t>(</a:t>
            </a:r>
            <a:fld id="{8F597A04-50EE-4BF7-8F83-D570F0FA5E3B}" type="datetime'8''''%'''''''''''''''''''''''''''''''''">
              <a:rPr lang="en-US" altLang="en-US" sz="1400" smtClean="0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%</a:t>
            </a:fld>
            <a:r>
              <a:rPr lang="en-US" sz="1400">
                <a:solidFill>
                  <a:schemeClr val="bg1"/>
                </a:solidFill>
                <a:sym typeface="Arial" panose="020B0604020202020204" pitchFamily="34" charset="0"/>
              </a:rPr>
              <a:t>)</a:t>
            </a:r>
          </a:p>
        </p:txBody>
      </p:sp>
      <p:sp>
        <p:nvSpPr>
          <p:cNvPr id="15" name="Rectangle 21">
            <a:extLst>
              <a:ext uri="{FF2B5EF4-FFF2-40B4-BE49-F238E27FC236}">
                <a16:creationId xmlns:a16="http://schemas.microsoft.com/office/drawing/2014/main" id="{8FE32027-4130-1DAE-AC8C-2A850633270C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278188" y="2214563"/>
            <a:ext cx="492125" cy="38417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15E3D5-B4B6-4282-9BF9-0EA7A6FD888B}" type="datetime'''''''''''''''''''''''''''''''4''.5''''''m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.5m</a:t>
            </a:fld>
            <a:br>
              <a:rPr lang="en-US" altLang="en-US" sz="1400">
                <a:solidFill>
                  <a:schemeClr val="bg1"/>
                </a:solidFill>
                <a:effectLst/>
                <a:sym typeface="Arial" panose="020B0604020202020204" pitchFamily="34" charset="0"/>
              </a:rPr>
            </a:br>
            <a:r>
              <a:rPr lang="en-US" altLang="en-US" sz="1400">
                <a:solidFill>
                  <a:schemeClr val="bg1"/>
                </a:solidFill>
                <a:effectLst/>
                <a:sym typeface="Arial" panose="020B0604020202020204" pitchFamily="34" charset="0"/>
              </a:rPr>
              <a:t>(</a:t>
            </a:r>
            <a:fld id="{FDC0CCF1-9448-4E24-BA6C-7C685F4CCB60}" type="datetime'''''''''''''''''5''''''''''''''''''%''''''''''''''''''''''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%</a:t>
            </a:fld>
            <a:r>
              <a:rPr lang="en-US" sz="1400">
                <a:solidFill>
                  <a:schemeClr val="bg1"/>
                </a:solidFill>
                <a:sym typeface="Arial" panose="020B0604020202020204" pitchFamily="34" charset="0"/>
              </a:rPr>
              <a:t>)</a:t>
            </a: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ECCB22DD-20AB-13D3-D3F8-31D198B0104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744913" y="2455863"/>
            <a:ext cx="487363" cy="3841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B8A006-BF29-4732-A7EA-6AACD3C03685}" type="datetime'''''''3''''''''''''''''.''''''''''''''''''''''''''5''''''''m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5m</a:t>
            </a:fld>
            <a:b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</a:b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(</a:t>
            </a:r>
            <a:fld id="{D360B475-E264-4DDD-B343-EE267E67D400}" type="datetime'''4%''''''''''''''''''''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%</a:t>
            </a:fld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</a:rPr>
              <a:t>)</a:t>
            </a:r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598F452D-0F70-1849-3A3E-E74054BFF46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908425" y="1952625"/>
            <a:ext cx="488950" cy="384175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0680C0-524C-4978-A623-C7567EDE608F}" type="datetime'''''''''''''''''''''''''''''''''2''''''.5m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5m</a:t>
            </a:fld>
            <a:b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</a:b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t>(</a:t>
            </a:r>
            <a:fld id="{CC79B896-105B-4A8A-88C8-6C68A63C3013}" type="datetime'''''''''''''''''''''''''''''''''''''3''%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r>
              <a:rPr 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)</a:t>
            </a: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1B73F394-B56E-2993-482F-736C05BD1D81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466850" y="577850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B9895F7F-8AAD-1B4A-629C-4EC8E945F4DC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466850" y="6042025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ED8211C4-9BC2-5DBE-04DB-046254069CE3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651125" y="5778500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1">
            <a:extLst>
              <a:ext uri="{FF2B5EF4-FFF2-40B4-BE49-F238E27FC236}">
                <a16:creationId xmlns:a16="http://schemas.microsoft.com/office/drawing/2014/main" id="{D87D73E3-7963-C43A-787C-B413EB9386E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651125" y="604202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07A71BA4-C201-24EC-DAD6-2F609A3E980D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914775" y="577850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id="{545F4CDA-5956-AAA1-5F7F-8F09D1CACB0E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914775" y="6042025"/>
            <a:ext cx="250825" cy="187325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61">
            <a:extLst>
              <a:ext uri="{FF2B5EF4-FFF2-40B4-BE49-F238E27FC236}">
                <a16:creationId xmlns:a16="http://schemas.microsoft.com/office/drawing/2014/main" id="{75C14576-5300-D206-0308-0E905BFAB3A7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768475" y="5773738"/>
            <a:ext cx="4746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7BA3A61-D2A0-404F-8E59-208B9FDA2F17}" type="datetime'''''B''''''''''''''l''''''''''''''''ue''''''''''''''''''s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Blues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5" name="Rectangle 63">
            <a:extLst>
              <a:ext uri="{FF2B5EF4-FFF2-40B4-BE49-F238E27FC236}">
                <a16:creationId xmlns:a16="http://schemas.microsoft.com/office/drawing/2014/main" id="{F4AEC8F7-027C-2344-3AC4-685ACE751CFC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768475" y="6037263"/>
            <a:ext cx="7810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2AC0045-DA22-4412-A48C-CB50464A4A9B}" type="datetime'Cl''a''''''''''''''''s''''''''''''''s''ic''''''''a''''''l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lassical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6" name="Rectangle 62">
            <a:extLst>
              <a:ext uri="{FF2B5EF4-FFF2-40B4-BE49-F238E27FC236}">
                <a16:creationId xmlns:a16="http://schemas.microsoft.com/office/drawing/2014/main" id="{209626E0-751F-8538-E2F4-99462C36A2AA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2952750" y="5773738"/>
            <a:ext cx="6778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BFF1872-CBBB-4C21-9804-BA3D1FD9DBE9}" type="datetime'''''''C''''''''o''''''''u''n''''t''''''r''''''''''''''y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ountry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64">
            <a:extLst>
              <a:ext uri="{FF2B5EF4-FFF2-40B4-BE49-F238E27FC236}">
                <a16:creationId xmlns:a16="http://schemas.microsoft.com/office/drawing/2014/main" id="{7FBA56E2-86F4-56B5-2A65-265F79237D34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952750" y="6037263"/>
            <a:ext cx="8604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D6BE2CA-3061-497E-AC2F-365186327691}" type="datetime'El''''''e''''c''t''''''r''''o''''n''''''i''''''''''''''c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lectronic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 66">
            <a:extLst>
              <a:ext uri="{FF2B5EF4-FFF2-40B4-BE49-F238E27FC236}">
                <a16:creationId xmlns:a16="http://schemas.microsoft.com/office/drawing/2014/main" id="{FD9CD3B9-1544-A94F-9E89-809C49A44E4E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216399" y="5773738"/>
            <a:ext cx="4000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72062A2-86BA-4EC5-A88F-CE07D5B1246C}" type="datetime'''''''J''''''''''''''a''''''''''''z''''''''''''''''z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Jazz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D3C2039C-5142-CE79-A060-F4C12E99820E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216400" y="6037263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8C45E9D-2FB4-4838-8BCA-3D0AE62F5E6E}" type="datetime'La''''''''t''''''''''''i''''''''''''''n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Latin</a:t>
            </a:fld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3214EC1C-3C08-9B52-49D0-EA9EF57C3F5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17371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fr-FR">
                <a:solidFill>
                  <a:schemeClr val="tx2"/>
                </a:solidFill>
              </a:rPr>
              <a:t>think-cell, chart, charts, graph, graphs, percent, percentage, doughnut, doughnuts, donut, donuts, pies, percent, percentage, comment</a:t>
            </a:r>
          </a:p>
        </p:txBody>
      </p:sp>
      <p:sp>
        <p:nvSpPr>
          <p:cNvPr id="16" name="Rechteck 137">
            <a:extLst>
              <a:ext uri="{FF2B5EF4-FFF2-40B4-BE49-F238E27FC236}">
                <a16:creationId xmlns:a16="http://schemas.microsoft.com/office/drawing/2014/main" id="{008CD5FD-0131-6958-3232-AD3033F499E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29" name="tc_columnheader">
            <a:extLst>
              <a:ext uri="{FF2B5EF4-FFF2-40B4-BE49-F238E27FC236}">
                <a16:creationId xmlns:a16="http://schemas.microsoft.com/office/drawing/2014/main" id="{CD0736FB-094C-7E70-DD65-CF94370281FC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30" name="tc_columnhead">
              <a:extLst>
                <a:ext uri="{FF2B5EF4-FFF2-40B4-BE49-F238E27FC236}">
                  <a16:creationId xmlns:a16="http://schemas.microsoft.com/office/drawing/2014/main" id="{2C3B0BA0-E6B0-44C5-42B7-30CA7A633D1C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a-DK" sz="1600" b="0">
                  <a:solidFill>
                    <a:schemeClr val="tx1"/>
                  </a:solidFill>
                </a:rPr>
                <a:t>Insert chart title here</a:t>
              </a:r>
              <a:endParaRPr lang="en-US" sz="1600" b="0">
                <a:solidFill>
                  <a:schemeClr val="tx1"/>
                </a:solidFill>
              </a:endParaRPr>
            </a:p>
          </p:txBody>
        </p:sp>
        <p:cxnSp>
          <p:nvCxnSpPr>
            <p:cNvPr id="31" name="tc_columnheadline">
              <a:extLst>
                <a:ext uri="{FF2B5EF4-FFF2-40B4-BE49-F238E27FC236}">
                  <a16:creationId xmlns:a16="http://schemas.microsoft.com/office/drawing/2014/main" id="{92DCA7B1-3BC1-83C1-4E07-A05902B655B0}"/>
                </a:ext>
              </a:extLst>
            </p:cNvPr>
            <p:cNvCxnSpPr>
              <a:cxnSpLocks/>
              <a:stCxn id="30" idx="4"/>
              <a:endCxn id="3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tc_columnheader">
            <a:extLst>
              <a:ext uri="{FF2B5EF4-FFF2-40B4-BE49-F238E27FC236}">
                <a16:creationId xmlns:a16="http://schemas.microsoft.com/office/drawing/2014/main" id="{4FCD3F21-0C5C-1B5B-B28A-BE7CF244F74D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33" name="tc_columnhead">
              <a:extLst>
                <a:ext uri="{FF2B5EF4-FFF2-40B4-BE49-F238E27FC236}">
                  <a16:creationId xmlns:a16="http://schemas.microsoft.com/office/drawing/2014/main" id="{322C4713-6A2A-4175-631E-934CA64230B2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34" name="tc_columnheadline">
              <a:extLst>
                <a:ext uri="{FF2B5EF4-FFF2-40B4-BE49-F238E27FC236}">
                  <a16:creationId xmlns:a16="http://schemas.microsoft.com/office/drawing/2014/main" id="{2DF1D3B6-2F13-4854-7550-EBAD1188076D}"/>
                </a:ext>
              </a:extLst>
            </p:cNvPr>
            <p:cNvCxnSpPr>
              <a:cxnSpLocks/>
              <a:stCxn id="33" idx="4"/>
              <a:endCxn id="33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18">
            <a:extLst>
              <a:ext uri="{FF2B5EF4-FFF2-40B4-BE49-F238E27FC236}">
                <a16:creationId xmlns:a16="http://schemas.microsoft.com/office/drawing/2014/main" id="{3240CA55-AE25-E83C-5F73-D5BAA558A333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label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7146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oYmjtjPl2tPX0qXC3P2w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KXsRF50DpKIsYa52pDww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9uP.DxpjHmnkJg8_vpSQ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p5IoqibhPT01O6KaY60g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GwYNTEr0gnw57aeBweNg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i9hL63LAooRtscLn1lTQ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d2zMPS3.aiuHMFVIl5cw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hgrzILfOmviSvgPnWn.Q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41ZKHjAjDkt0rPB_D3LA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8MF4bIEwM1.lCDXoE5_A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e4mBz.kBfs8ZljjeK_A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pTnpt.ndgZpzLre7EZ9Q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BiZb5miKAsbEzBXboEGA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H8wZ9zoCHzwFqVK1.6cw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4J9KiGxUaUn0hLCAshPg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KtRrgG3kAFNiof9Q09jA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cXrpfaVOJVF5EbRyjVAA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x6RwRHvt04NFk5NKkMQ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ld_qsfzoLFM12j4KXf7w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nldRKrKuaQJ_XgEaTa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